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35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D3D83D-DED6-691B-95D2-95219CD814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94E30C1-FE6C-D195-8420-2356D8FD77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>
                <a:latin typeface="+mn-lt"/>
              </a:rPr>
              <a:pPr/>
              <a:t>1</a:t>
            </a:fld>
            <a:endParaRPr lang="en-US" dirty="0">
              <a:latin typeface="+mn-l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069C94-7FA9-5C41-6113-61CDFA72F9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4 Layer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B2ED391-E365-2CCF-381D-A44380FBA99A}"/>
              </a:ext>
            </a:extLst>
          </p:cNvPr>
          <p:cNvSpPr/>
          <p:nvPr/>
        </p:nvSpPr>
        <p:spPr bwMode="auto">
          <a:xfrm>
            <a:off x="4764373" y="3552729"/>
            <a:ext cx="2663255" cy="2544701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2700">
            <a:noFill/>
            <a:round/>
            <a:headEnd/>
            <a:tailEnd/>
          </a:ln>
          <a:scene3d>
            <a:camera prst="isometricTopUp">
              <a:rot lat="19334319" lon="18553889" rev="3806096"/>
            </a:camera>
            <a:lightRig rig="threePt" dir="t"/>
          </a:scene3d>
          <a:sp3d prstMaterial="matte">
            <a:bevelT w="0" h="355600"/>
            <a:bevelB w="0" h="0"/>
          </a:sp3d>
        </p:spPr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C272D2-D114-CD4C-D0A5-66F893ABC093}"/>
              </a:ext>
            </a:extLst>
          </p:cNvPr>
          <p:cNvSpPr/>
          <p:nvPr/>
        </p:nvSpPr>
        <p:spPr bwMode="auto">
          <a:xfrm>
            <a:off x="4764373" y="2815616"/>
            <a:ext cx="2663255" cy="2544701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2700">
            <a:noFill/>
            <a:round/>
            <a:headEnd/>
            <a:tailEnd/>
          </a:ln>
          <a:scene3d>
            <a:camera prst="isometricTopUp">
              <a:rot lat="19334319" lon="18553889" rev="3806096"/>
            </a:camera>
            <a:lightRig rig="threePt" dir="t"/>
          </a:scene3d>
          <a:sp3d prstMaterial="matte">
            <a:bevelT w="0" h="355600"/>
            <a:bevelB w="0" h="0"/>
          </a:sp3d>
        </p:spPr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9C606D9-D123-E3DE-21A4-BE9D24738F23}"/>
              </a:ext>
            </a:extLst>
          </p:cNvPr>
          <p:cNvSpPr/>
          <p:nvPr/>
        </p:nvSpPr>
        <p:spPr bwMode="auto">
          <a:xfrm>
            <a:off x="4764373" y="2067981"/>
            <a:ext cx="2663255" cy="2544701"/>
          </a:xfrm>
          <a:prstGeom prst="rect">
            <a:avLst/>
          </a:prstGeom>
          <a:solidFill>
            <a:schemeClr val="accent3"/>
          </a:solidFill>
          <a:ln w="12700">
            <a:noFill/>
            <a:round/>
            <a:headEnd/>
            <a:tailEnd/>
          </a:ln>
          <a:scene3d>
            <a:camera prst="isometricTopUp">
              <a:rot lat="19334319" lon="18553889" rev="3806096"/>
            </a:camera>
            <a:lightRig rig="threePt" dir="t"/>
          </a:scene3d>
          <a:sp3d prstMaterial="matte">
            <a:bevelT w="0" h="355600"/>
            <a:bevelB w="0" h="0"/>
          </a:sp3d>
        </p:spPr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986F070-EBD2-3394-F36F-DD6AE60C43D7}"/>
              </a:ext>
            </a:extLst>
          </p:cNvPr>
          <p:cNvSpPr/>
          <p:nvPr/>
        </p:nvSpPr>
        <p:spPr bwMode="auto">
          <a:xfrm>
            <a:off x="4764373" y="1347163"/>
            <a:ext cx="2663255" cy="2544701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12700">
            <a:noFill/>
            <a:round/>
            <a:headEnd/>
            <a:tailEnd/>
          </a:ln>
          <a:scene3d>
            <a:camera prst="isometricTopUp">
              <a:rot lat="19334319" lon="18553889" rev="3806096"/>
            </a:camera>
            <a:lightRig rig="threePt" dir="t"/>
          </a:scene3d>
          <a:sp3d prstMaterial="matte">
            <a:bevelT w="0" h="355600"/>
            <a:bevelB w="0" h="0"/>
          </a:sp3d>
        </p:spPr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CF9A2B0-3F78-F8CC-68C2-743F408C34FC}"/>
              </a:ext>
            </a:extLst>
          </p:cNvPr>
          <p:cNvSpPr txBox="1"/>
          <p:nvPr/>
        </p:nvSpPr>
        <p:spPr>
          <a:xfrm>
            <a:off x="9215841" y="1629882"/>
            <a:ext cx="2616565" cy="830997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r>
              <a:rPr lang="en-US" sz="2400" b="1" dirty="0"/>
              <a:t>Insert Text Here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5526FBA-DE5B-E8F8-B4DF-2C501B2804C9}"/>
              </a:ext>
            </a:extLst>
          </p:cNvPr>
          <p:cNvSpPr txBox="1"/>
          <p:nvPr/>
        </p:nvSpPr>
        <p:spPr>
          <a:xfrm>
            <a:off x="9223636" y="2303944"/>
            <a:ext cx="2609621" cy="1169551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r>
              <a:rPr lang="en-US" sz="1400" dirty="0"/>
              <a:t>Insert text Insert text</a:t>
            </a:r>
          </a:p>
          <a:p>
            <a:r>
              <a:rPr lang="en-US" sz="1400" dirty="0"/>
              <a:t>Insert text Insert text</a:t>
            </a:r>
          </a:p>
          <a:p>
            <a:r>
              <a:rPr lang="en-US" sz="1400" dirty="0"/>
              <a:t>Insert text Insert text</a:t>
            </a:r>
          </a:p>
          <a:p>
            <a:endParaRPr lang="en-US" sz="1400" dirty="0"/>
          </a:p>
          <a:p>
            <a:endParaRPr lang="en-US" sz="14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F4BE851-29EB-1896-3187-991B3FD7FE01}"/>
              </a:ext>
            </a:extLst>
          </p:cNvPr>
          <p:cNvSpPr txBox="1"/>
          <p:nvPr/>
        </p:nvSpPr>
        <p:spPr>
          <a:xfrm>
            <a:off x="358744" y="1629882"/>
            <a:ext cx="2616565" cy="830997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r"/>
            <a:r>
              <a:rPr lang="en-US" sz="2400" b="1" dirty="0"/>
              <a:t>Insert Text Here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AF77630-D3D8-0D47-98FF-3FC5411AF525}"/>
              </a:ext>
            </a:extLst>
          </p:cNvPr>
          <p:cNvSpPr txBox="1"/>
          <p:nvPr/>
        </p:nvSpPr>
        <p:spPr>
          <a:xfrm>
            <a:off x="366539" y="2303945"/>
            <a:ext cx="2609621" cy="1169551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r"/>
            <a:r>
              <a:rPr lang="en-US" sz="1400" dirty="0"/>
              <a:t>Insert text Insert text</a:t>
            </a:r>
          </a:p>
          <a:p>
            <a:pPr algn="r"/>
            <a:r>
              <a:rPr lang="en-US" sz="1400" dirty="0"/>
              <a:t>Insert text Insert text</a:t>
            </a:r>
          </a:p>
          <a:p>
            <a:pPr algn="r"/>
            <a:r>
              <a:rPr lang="en-US" sz="1400" dirty="0"/>
              <a:t>Insert text Insert text</a:t>
            </a:r>
          </a:p>
          <a:p>
            <a:pPr algn="r"/>
            <a:endParaRPr lang="en-US" sz="1400" dirty="0"/>
          </a:p>
          <a:p>
            <a:pPr algn="r"/>
            <a:endParaRPr lang="en-US" sz="14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B9F6F17-C3F3-EA3C-5CE0-C0542FD70B44}"/>
              </a:ext>
            </a:extLst>
          </p:cNvPr>
          <p:cNvSpPr txBox="1"/>
          <p:nvPr/>
        </p:nvSpPr>
        <p:spPr>
          <a:xfrm>
            <a:off x="9212331" y="4253817"/>
            <a:ext cx="2616565" cy="830997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r>
              <a:rPr lang="en-US" sz="2400" b="1" dirty="0"/>
              <a:t>Insert Text Here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25926B3-BBFF-29D6-6E15-63FC1513C0BB}"/>
              </a:ext>
            </a:extLst>
          </p:cNvPr>
          <p:cNvSpPr txBox="1"/>
          <p:nvPr/>
        </p:nvSpPr>
        <p:spPr>
          <a:xfrm>
            <a:off x="9220126" y="4927879"/>
            <a:ext cx="2609621" cy="1169551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r>
              <a:rPr lang="en-US" sz="1400" dirty="0"/>
              <a:t>Insert text Insert text</a:t>
            </a:r>
          </a:p>
          <a:p>
            <a:r>
              <a:rPr lang="en-US" sz="1400" dirty="0"/>
              <a:t>Insert text Insert text</a:t>
            </a:r>
          </a:p>
          <a:p>
            <a:r>
              <a:rPr lang="en-US" sz="1400" dirty="0"/>
              <a:t>Insert text Insert text</a:t>
            </a:r>
          </a:p>
          <a:p>
            <a:endParaRPr lang="en-US" sz="1400" dirty="0"/>
          </a:p>
          <a:p>
            <a:endParaRPr lang="en-US" sz="14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DAB295A-8197-0852-79DB-B3A18C156548}"/>
              </a:ext>
            </a:extLst>
          </p:cNvPr>
          <p:cNvSpPr txBox="1"/>
          <p:nvPr/>
        </p:nvSpPr>
        <p:spPr>
          <a:xfrm>
            <a:off x="355234" y="4253817"/>
            <a:ext cx="2616565" cy="830997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r"/>
            <a:r>
              <a:rPr lang="en-US" sz="2400" b="1" dirty="0"/>
              <a:t>Insert Text Here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8C8D3AF-BEAF-DE26-9555-705CA3139FD5}"/>
              </a:ext>
            </a:extLst>
          </p:cNvPr>
          <p:cNvSpPr txBox="1"/>
          <p:nvPr/>
        </p:nvSpPr>
        <p:spPr>
          <a:xfrm>
            <a:off x="363029" y="4927879"/>
            <a:ext cx="2609621" cy="1169551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r"/>
            <a:r>
              <a:rPr lang="en-US" sz="1400" dirty="0"/>
              <a:t>Insert text Insert text</a:t>
            </a:r>
          </a:p>
          <a:p>
            <a:pPr algn="r"/>
            <a:r>
              <a:rPr lang="en-US" sz="1400" dirty="0"/>
              <a:t>Insert text Insert text</a:t>
            </a:r>
          </a:p>
          <a:p>
            <a:pPr algn="r"/>
            <a:r>
              <a:rPr lang="en-US" sz="1400" dirty="0"/>
              <a:t>Insert text Insert text</a:t>
            </a:r>
          </a:p>
          <a:p>
            <a:pPr algn="r"/>
            <a:endParaRPr lang="en-US" sz="1400" dirty="0"/>
          </a:p>
          <a:p>
            <a:pPr algn="r"/>
            <a:endParaRPr lang="en-US" sz="1400" dirty="0"/>
          </a:p>
        </p:txBody>
      </p:sp>
      <p:sp>
        <p:nvSpPr>
          <p:cNvPr id="20" name="Freeform 296">
            <a:extLst>
              <a:ext uri="{FF2B5EF4-FFF2-40B4-BE49-F238E27FC236}">
                <a16:creationId xmlns:a16="http://schemas.microsoft.com/office/drawing/2014/main" id="{F2DF0ECB-9B34-3EF1-DC37-81A597E7FE4D}"/>
              </a:ext>
            </a:extLst>
          </p:cNvPr>
          <p:cNvSpPr/>
          <p:nvPr/>
        </p:nvSpPr>
        <p:spPr>
          <a:xfrm>
            <a:off x="8537324" y="1842178"/>
            <a:ext cx="546898" cy="546620"/>
          </a:xfrm>
          <a:custGeom>
            <a:avLst/>
            <a:gdLst>
              <a:gd name="connsiteX0" fmla="*/ 189309 w 468765"/>
              <a:gd name="connsiteY0" fmla="*/ 108177 h 468766"/>
              <a:gd name="connsiteX1" fmla="*/ 207338 w 468765"/>
              <a:gd name="connsiteY1" fmla="*/ 108177 h 468766"/>
              <a:gd name="connsiteX2" fmla="*/ 213677 w 468765"/>
              <a:gd name="connsiteY2" fmla="*/ 110853 h 468766"/>
              <a:gd name="connsiteX3" fmla="*/ 216353 w 468765"/>
              <a:gd name="connsiteY3" fmla="*/ 117191 h 468766"/>
              <a:gd name="connsiteX4" fmla="*/ 216353 w 468765"/>
              <a:gd name="connsiteY4" fmla="*/ 180295 h 468766"/>
              <a:gd name="connsiteX5" fmla="*/ 279457 w 468765"/>
              <a:gd name="connsiteY5" fmla="*/ 180295 h 468766"/>
              <a:gd name="connsiteX6" fmla="*/ 285795 w 468765"/>
              <a:gd name="connsiteY6" fmla="*/ 182971 h 468766"/>
              <a:gd name="connsiteX7" fmla="*/ 288471 w 468765"/>
              <a:gd name="connsiteY7" fmla="*/ 189309 h 468766"/>
              <a:gd name="connsiteX8" fmla="*/ 288471 w 468765"/>
              <a:gd name="connsiteY8" fmla="*/ 207339 h 468766"/>
              <a:gd name="connsiteX9" fmla="*/ 285795 w 468765"/>
              <a:gd name="connsiteY9" fmla="*/ 213677 h 468766"/>
              <a:gd name="connsiteX10" fmla="*/ 279457 w 468765"/>
              <a:gd name="connsiteY10" fmla="*/ 216354 h 468766"/>
              <a:gd name="connsiteX11" fmla="*/ 216353 w 468765"/>
              <a:gd name="connsiteY11" fmla="*/ 216354 h 468766"/>
              <a:gd name="connsiteX12" fmla="*/ 216353 w 468765"/>
              <a:gd name="connsiteY12" fmla="*/ 279457 h 468766"/>
              <a:gd name="connsiteX13" fmla="*/ 213677 w 468765"/>
              <a:gd name="connsiteY13" fmla="*/ 285795 h 468766"/>
              <a:gd name="connsiteX14" fmla="*/ 207338 w 468765"/>
              <a:gd name="connsiteY14" fmla="*/ 288471 h 468766"/>
              <a:gd name="connsiteX15" fmla="*/ 189309 w 468765"/>
              <a:gd name="connsiteY15" fmla="*/ 288471 h 468766"/>
              <a:gd name="connsiteX16" fmla="*/ 182971 w 468765"/>
              <a:gd name="connsiteY16" fmla="*/ 285795 h 468766"/>
              <a:gd name="connsiteX17" fmla="*/ 180294 w 468765"/>
              <a:gd name="connsiteY17" fmla="*/ 279457 h 468766"/>
              <a:gd name="connsiteX18" fmla="*/ 180294 w 468765"/>
              <a:gd name="connsiteY18" fmla="*/ 216354 h 468766"/>
              <a:gd name="connsiteX19" fmla="*/ 117191 w 468765"/>
              <a:gd name="connsiteY19" fmla="*/ 216354 h 468766"/>
              <a:gd name="connsiteX20" fmla="*/ 110853 w 468765"/>
              <a:gd name="connsiteY20" fmla="*/ 213677 h 468766"/>
              <a:gd name="connsiteX21" fmla="*/ 108176 w 468765"/>
              <a:gd name="connsiteY21" fmla="*/ 207339 h 468766"/>
              <a:gd name="connsiteX22" fmla="*/ 108176 w 468765"/>
              <a:gd name="connsiteY22" fmla="*/ 189309 h 468766"/>
              <a:gd name="connsiteX23" fmla="*/ 110853 w 468765"/>
              <a:gd name="connsiteY23" fmla="*/ 182971 h 468766"/>
              <a:gd name="connsiteX24" fmla="*/ 117191 w 468765"/>
              <a:gd name="connsiteY24" fmla="*/ 180295 h 468766"/>
              <a:gd name="connsiteX25" fmla="*/ 180294 w 468765"/>
              <a:gd name="connsiteY25" fmla="*/ 180295 h 468766"/>
              <a:gd name="connsiteX26" fmla="*/ 180294 w 468765"/>
              <a:gd name="connsiteY26" fmla="*/ 117191 h 468766"/>
              <a:gd name="connsiteX27" fmla="*/ 182971 w 468765"/>
              <a:gd name="connsiteY27" fmla="*/ 110853 h 468766"/>
              <a:gd name="connsiteX28" fmla="*/ 189309 w 468765"/>
              <a:gd name="connsiteY28" fmla="*/ 108177 h 468766"/>
              <a:gd name="connsiteX29" fmla="*/ 198324 w 468765"/>
              <a:gd name="connsiteY29" fmla="*/ 72118 h 468766"/>
              <a:gd name="connsiteX30" fmla="*/ 109162 w 468765"/>
              <a:gd name="connsiteY30" fmla="*/ 109163 h 468766"/>
              <a:gd name="connsiteX31" fmla="*/ 72117 w 468765"/>
              <a:gd name="connsiteY31" fmla="*/ 198324 h 468766"/>
              <a:gd name="connsiteX32" fmla="*/ 109162 w 468765"/>
              <a:gd name="connsiteY32" fmla="*/ 287485 h 468766"/>
              <a:gd name="connsiteX33" fmla="*/ 198324 w 468765"/>
              <a:gd name="connsiteY33" fmla="*/ 324530 h 468766"/>
              <a:gd name="connsiteX34" fmla="*/ 287485 w 468765"/>
              <a:gd name="connsiteY34" fmla="*/ 287485 h 468766"/>
              <a:gd name="connsiteX35" fmla="*/ 324530 w 468765"/>
              <a:gd name="connsiteY35" fmla="*/ 198324 h 468766"/>
              <a:gd name="connsiteX36" fmla="*/ 287485 w 468765"/>
              <a:gd name="connsiteY36" fmla="*/ 109163 h 468766"/>
              <a:gd name="connsiteX37" fmla="*/ 198324 w 468765"/>
              <a:gd name="connsiteY37" fmla="*/ 72118 h 468766"/>
              <a:gd name="connsiteX38" fmla="*/ 198324 w 468765"/>
              <a:gd name="connsiteY38" fmla="*/ 0 h 468766"/>
              <a:gd name="connsiteX39" fmla="*/ 275371 w 468765"/>
              <a:gd name="connsiteY39" fmla="*/ 15635 h 468766"/>
              <a:gd name="connsiteX40" fmla="*/ 338757 w 468765"/>
              <a:gd name="connsiteY40" fmla="*/ 57891 h 468766"/>
              <a:gd name="connsiteX41" fmla="*/ 381014 w 468765"/>
              <a:gd name="connsiteY41" fmla="*/ 121276 h 468766"/>
              <a:gd name="connsiteX42" fmla="*/ 396648 w 468765"/>
              <a:gd name="connsiteY42" fmla="*/ 198324 h 468766"/>
              <a:gd name="connsiteX43" fmla="*/ 361716 w 468765"/>
              <a:gd name="connsiteY43" fmla="*/ 310727 h 468766"/>
              <a:gd name="connsiteX44" fmla="*/ 458343 w 468765"/>
              <a:gd name="connsiteY44" fmla="*/ 407353 h 468766"/>
              <a:gd name="connsiteX45" fmla="*/ 468765 w 468765"/>
              <a:gd name="connsiteY45" fmla="*/ 432707 h 468766"/>
              <a:gd name="connsiteX46" fmla="*/ 458202 w 468765"/>
              <a:gd name="connsiteY46" fmla="*/ 458202 h 468766"/>
              <a:gd name="connsiteX47" fmla="*/ 432707 w 468765"/>
              <a:gd name="connsiteY47" fmla="*/ 468766 h 468766"/>
              <a:gd name="connsiteX48" fmla="*/ 407353 w 468765"/>
              <a:gd name="connsiteY48" fmla="*/ 458061 h 468766"/>
              <a:gd name="connsiteX49" fmla="*/ 310726 w 468765"/>
              <a:gd name="connsiteY49" fmla="*/ 361716 h 468766"/>
              <a:gd name="connsiteX50" fmla="*/ 198324 w 468765"/>
              <a:gd name="connsiteY50" fmla="*/ 396648 h 468766"/>
              <a:gd name="connsiteX51" fmla="*/ 121276 w 468765"/>
              <a:gd name="connsiteY51" fmla="*/ 381013 h 468766"/>
              <a:gd name="connsiteX52" fmla="*/ 57891 w 468765"/>
              <a:gd name="connsiteY52" fmla="*/ 338757 h 468766"/>
              <a:gd name="connsiteX53" fmla="*/ 15634 w 468765"/>
              <a:gd name="connsiteY53" fmla="*/ 275372 h 468766"/>
              <a:gd name="connsiteX54" fmla="*/ 0 w 468765"/>
              <a:gd name="connsiteY54" fmla="*/ 198324 h 468766"/>
              <a:gd name="connsiteX55" fmla="*/ 15634 w 468765"/>
              <a:gd name="connsiteY55" fmla="*/ 121276 h 468766"/>
              <a:gd name="connsiteX56" fmla="*/ 57891 w 468765"/>
              <a:gd name="connsiteY56" fmla="*/ 57891 h 468766"/>
              <a:gd name="connsiteX57" fmla="*/ 121276 w 468765"/>
              <a:gd name="connsiteY57" fmla="*/ 15635 h 468766"/>
              <a:gd name="connsiteX58" fmla="*/ 198324 w 468765"/>
              <a:gd name="connsiteY58" fmla="*/ 0 h 4687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468765" h="468766">
                <a:moveTo>
                  <a:pt x="189309" y="108177"/>
                </a:moveTo>
                <a:lnTo>
                  <a:pt x="207338" y="108177"/>
                </a:lnTo>
                <a:cubicBezTo>
                  <a:pt x="209781" y="108177"/>
                  <a:pt x="211893" y="109069"/>
                  <a:pt x="213677" y="110853"/>
                </a:cubicBezTo>
                <a:cubicBezTo>
                  <a:pt x="215460" y="112637"/>
                  <a:pt x="216353" y="114750"/>
                  <a:pt x="216353" y="117191"/>
                </a:cubicBezTo>
                <a:lnTo>
                  <a:pt x="216353" y="180295"/>
                </a:lnTo>
                <a:lnTo>
                  <a:pt x="279457" y="180295"/>
                </a:lnTo>
                <a:cubicBezTo>
                  <a:pt x="281898" y="180295"/>
                  <a:pt x="284011" y="181187"/>
                  <a:pt x="285795" y="182971"/>
                </a:cubicBezTo>
                <a:cubicBezTo>
                  <a:pt x="287579" y="184755"/>
                  <a:pt x="288471" y="186868"/>
                  <a:pt x="288471" y="189309"/>
                </a:cubicBezTo>
                <a:lnTo>
                  <a:pt x="288471" y="207339"/>
                </a:lnTo>
                <a:cubicBezTo>
                  <a:pt x="288471" y="209780"/>
                  <a:pt x="287579" y="211893"/>
                  <a:pt x="285795" y="213677"/>
                </a:cubicBezTo>
                <a:cubicBezTo>
                  <a:pt x="284011" y="215461"/>
                  <a:pt x="281898" y="216354"/>
                  <a:pt x="279457" y="216354"/>
                </a:cubicBezTo>
                <a:lnTo>
                  <a:pt x="216353" y="216354"/>
                </a:lnTo>
                <a:lnTo>
                  <a:pt x="216353" y="279457"/>
                </a:lnTo>
                <a:cubicBezTo>
                  <a:pt x="216353" y="281898"/>
                  <a:pt x="215460" y="284011"/>
                  <a:pt x="213677" y="285795"/>
                </a:cubicBezTo>
                <a:cubicBezTo>
                  <a:pt x="211893" y="287579"/>
                  <a:pt x="209781" y="288471"/>
                  <a:pt x="207338" y="288471"/>
                </a:cubicBezTo>
                <a:lnTo>
                  <a:pt x="189309" y="288471"/>
                </a:lnTo>
                <a:cubicBezTo>
                  <a:pt x="186867" y="288471"/>
                  <a:pt x="184754" y="287579"/>
                  <a:pt x="182971" y="285795"/>
                </a:cubicBezTo>
                <a:cubicBezTo>
                  <a:pt x="181187" y="284011"/>
                  <a:pt x="180294" y="281898"/>
                  <a:pt x="180294" y="279457"/>
                </a:cubicBezTo>
                <a:lnTo>
                  <a:pt x="180294" y="216354"/>
                </a:lnTo>
                <a:lnTo>
                  <a:pt x="117191" y="216354"/>
                </a:lnTo>
                <a:cubicBezTo>
                  <a:pt x="114749" y="216354"/>
                  <a:pt x="112636" y="215461"/>
                  <a:pt x="110853" y="213677"/>
                </a:cubicBezTo>
                <a:cubicBezTo>
                  <a:pt x="109069" y="211893"/>
                  <a:pt x="108176" y="209780"/>
                  <a:pt x="108176" y="207339"/>
                </a:cubicBezTo>
                <a:lnTo>
                  <a:pt x="108176" y="189309"/>
                </a:lnTo>
                <a:cubicBezTo>
                  <a:pt x="108176" y="186868"/>
                  <a:pt x="109069" y="184755"/>
                  <a:pt x="110853" y="182971"/>
                </a:cubicBezTo>
                <a:cubicBezTo>
                  <a:pt x="112636" y="181187"/>
                  <a:pt x="114749" y="180295"/>
                  <a:pt x="117191" y="180295"/>
                </a:cubicBezTo>
                <a:lnTo>
                  <a:pt x="180294" y="180295"/>
                </a:lnTo>
                <a:lnTo>
                  <a:pt x="180294" y="117191"/>
                </a:lnTo>
                <a:cubicBezTo>
                  <a:pt x="180294" y="114750"/>
                  <a:pt x="181187" y="112637"/>
                  <a:pt x="182971" y="110853"/>
                </a:cubicBezTo>
                <a:cubicBezTo>
                  <a:pt x="184754" y="109069"/>
                  <a:pt x="186867" y="108177"/>
                  <a:pt x="189309" y="108177"/>
                </a:cubicBezTo>
                <a:close/>
                <a:moveTo>
                  <a:pt x="198324" y="72118"/>
                </a:moveTo>
                <a:cubicBezTo>
                  <a:pt x="163580" y="72118"/>
                  <a:pt x="133860" y="84466"/>
                  <a:pt x="109162" y="109163"/>
                </a:cubicBezTo>
                <a:cubicBezTo>
                  <a:pt x="84466" y="133859"/>
                  <a:pt x="72117" y="163580"/>
                  <a:pt x="72117" y="198324"/>
                </a:cubicBezTo>
                <a:cubicBezTo>
                  <a:pt x="72117" y="233068"/>
                  <a:pt x="84466" y="262789"/>
                  <a:pt x="109162" y="287485"/>
                </a:cubicBezTo>
                <a:cubicBezTo>
                  <a:pt x="133860" y="312182"/>
                  <a:pt x="163580" y="324530"/>
                  <a:pt x="198324" y="324530"/>
                </a:cubicBezTo>
                <a:cubicBezTo>
                  <a:pt x="233068" y="324530"/>
                  <a:pt x="262788" y="312182"/>
                  <a:pt x="287485" y="287485"/>
                </a:cubicBezTo>
                <a:cubicBezTo>
                  <a:pt x="312182" y="262789"/>
                  <a:pt x="324530" y="233068"/>
                  <a:pt x="324530" y="198324"/>
                </a:cubicBezTo>
                <a:cubicBezTo>
                  <a:pt x="324530" y="163580"/>
                  <a:pt x="312182" y="133859"/>
                  <a:pt x="287485" y="109163"/>
                </a:cubicBezTo>
                <a:cubicBezTo>
                  <a:pt x="262788" y="84466"/>
                  <a:pt x="233068" y="72118"/>
                  <a:pt x="198324" y="72118"/>
                </a:cubicBezTo>
                <a:close/>
                <a:moveTo>
                  <a:pt x="198324" y="0"/>
                </a:moveTo>
                <a:cubicBezTo>
                  <a:pt x="225180" y="0"/>
                  <a:pt x="250863" y="5212"/>
                  <a:pt x="275371" y="15635"/>
                </a:cubicBezTo>
                <a:cubicBezTo>
                  <a:pt x="299880" y="26058"/>
                  <a:pt x="321009" y="40144"/>
                  <a:pt x="338757" y="57891"/>
                </a:cubicBezTo>
                <a:cubicBezTo>
                  <a:pt x="356505" y="75639"/>
                  <a:pt x="370590" y="96767"/>
                  <a:pt x="381014" y="121276"/>
                </a:cubicBezTo>
                <a:cubicBezTo>
                  <a:pt x="391436" y="145785"/>
                  <a:pt x="396648" y="171468"/>
                  <a:pt x="396648" y="198324"/>
                </a:cubicBezTo>
                <a:cubicBezTo>
                  <a:pt x="396648" y="239642"/>
                  <a:pt x="385004" y="277109"/>
                  <a:pt x="361716" y="310727"/>
                </a:cubicBezTo>
                <a:lnTo>
                  <a:pt x="458343" y="407353"/>
                </a:lnTo>
                <a:cubicBezTo>
                  <a:pt x="465291" y="414302"/>
                  <a:pt x="468765" y="422753"/>
                  <a:pt x="468765" y="432707"/>
                </a:cubicBezTo>
                <a:cubicBezTo>
                  <a:pt x="468765" y="442661"/>
                  <a:pt x="465245" y="451159"/>
                  <a:pt x="458202" y="458202"/>
                </a:cubicBezTo>
                <a:cubicBezTo>
                  <a:pt x="451158" y="465245"/>
                  <a:pt x="442660" y="468766"/>
                  <a:pt x="432707" y="468766"/>
                </a:cubicBezTo>
                <a:cubicBezTo>
                  <a:pt x="422565" y="468766"/>
                  <a:pt x="414114" y="465198"/>
                  <a:pt x="407353" y="458061"/>
                </a:cubicBezTo>
                <a:lnTo>
                  <a:pt x="310726" y="361716"/>
                </a:lnTo>
                <a:cubicBezTo>
                  <a:pt x="277109" y="385004"/>
                  <a:pt x="239642" y="396648"/>
                  <a:pt x="198324" y="396648"/>
                </a:cubicBezTo>
                <a:cubicBezTo>
                  <a:pt x="171468" y="396648"/>
                  <a:pt x="145784" y="391437"/>
                  <a:pt x="121276" y="381013"/>
                </a:cubicBezTo>
                <a:cubicBezTo>
                  <a:pt x="96767" y="370590"/>
                  <a:pt x="75639" y="356504"/>
                  <a:pt x="57891" y="338757"/>
                </a:cubicBezTo>
                <a:cubicBezTo>
                  <a:pt x="40143" y="321009"/>
                  <a:pt x="26058" y="299881"/>
                  <a:pt x="15634" y="275372"/>
                </a:cubicBezTo>
                <a:cubicBezTo>
                  <a:pt x="5211" y="250863"/>
                  <a:pt x="0" y="225180"/>
                  <a:pt x="0" y="198324"/>
                </a:cubicBezTo>
                <a:cubicBezTo>
                  <a:pt x="0" y="171468"/>
                  <a:pt x="5211" y="145785"/>
                  <a:pt x="15634" y="121276"/>
                </a:cubicBezTo>
                <a:cubicBezTo>
                  <a:pt x="26058" y="96767"/>
                  <a:pt x="40143" y="75639"/>
                  <a:pt x="57891" y="57891"/>
                </a:cubicBezTo>
                <a:cubicBezTo>
                  <a:pt x="75639" y="40144"/>
                  <a:pt x="96767" y="26058"/>
                  <a:pt x="121276" y="15635"/>
                </a:cubicBezTo>
                <a:cubicBezTo>
                  <a:pt x="145784" y="5212"/>
                  <a:pt x="171468" y="0"/>
                  <a:pt x="19832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21" name="Freeform 304">
            <a:extLst>
              <a:ext uri="{FF2B5EF4-FFF2-40B4-BE49-F238E27FC236}">
                <a16:creationId xmlns:a16="http://schemas.microsoft.com/office/drawing/2014/main" id="{90E8CA9C-0628-1914-6DDF-DD56D52267B5}"/>
              </a:ext>
            </a:extLst>
          </p:cNvPr>
          <p:cNvSpPr/>
          <p:nvPr/>
        </p:nvSpPr>
        <p:spPr>
          <a:xfrm>
            <a:off x="3234530" y="1819813"/>
            <a:ext cx="504830" cy="504572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185084" y="0"/>
                </a:moveTo>
                <a:lnTo>
                  <a:pt x="247624" y="0"/>
                </a:lnTo>
                <a:cubicBezTo>
                  <a:pt x="250253" y="0"/>
                  <a:pt x="252554" y="798"/>
                  <a:pt x="254525" y="2394"/>
                </a:cubicBezTo>
                <a:cubicBezTo>
                  <a:pt x="256498" y="3991"/>
                  <a:pt x="257578" y="6010"/>
                  <a:pt x="257765" y="8451"/>
                </a:cubicBezTo>
                <a:lnTo>
                  <a:pt x="265653" y="60286"/>
                </a:lnTo>
                <a:cubicBezTo>
                  <a:pt x="274855" y="63291"/>
                  <a:pt x="283306" y="66765"/>
                  <a:pt x="291006" y="70709"/>
                </a:cubicBezTo>
                <a:lnTo>
                  <a:pt x="331010" y="40566"/>
                </a:lnTo>
                <a:cubicBezTo>
                  <a:pt x="332700" y="38876"/>
                  <a:pt x="334953" y="38031"/>
                  <a:pt x="337771" y="38031"/>
                </a:cubicBezTo>
                <a:cubicBezTo>
                  <a:pt x="340212" y="38031"/>
                  <a:pt x="342560" y="38970"/>
                  <a:pt x="344814" y="40848"/>
                </a:cubicBezTo>
                <a:cubicBezTo>
                  <a:pt x="369041" y="63197"/>
                  <a:pt x="384535" y="79161"/>
                  <a:pt x="391295" y="88739"/>
                </a:cubicBezTo>
                <a:cubicBezTo>
                  <a:pt x="392610" y="90241"/>
                  <a:pt x="393268" y="92307"/>
                  <a:pt x="393268" y="94936"/>
                </a:cubicBezTo>
                <a:cubicBezTo>
                  <a:pt x="393268" y="97190"/>
                  <a:pt x="392516" y="99350"/>
                  <a:pt x="391014" y="101416"/>
                </a:cubicBezTo>
                <a:cubicBezTo>
                  <a:pt x="388197" y="105360"/>
                  <a:pt x="383408" y="111604"/>
                  <a:pt x="376647" y="120149"/>
                </a:cubicBezTo>
                <a:cubicBezTo>
                  <a:pt x="369885" y="128695"/>
                  <a:pt x="364815" y="135315"/>
                  <a:pt x="361434" y="140010"/>
                </a:cubicBezTo>
                <a:cubicBezTo>
                  <a:pt x="366317" y="149400"/>
                  <a:pt x="370168" y="158603"/>
                  <a:pt x="372985" y="167618"/>
                </a:cubicBezTo>
                <a:lnTo>
                  <a:pt x="424537" y="175506"/>
                </a:lnTo>
                <a:cubicBezTo>
                  <a:pt x="426979" y="175881"/>
                  <a:pt x="428951" y="177055"/>
                  <a:pt x="430453" y="179027"/>
                </a:cubicBezTo>
                <a:cubicBezTo>
                  <a:pt x="431956" y="180999"/>
                  <a:pt x="432707" y="183206"/>
                  <a:pt x="432707" y="185647"/>
                </a:cubicBezTo>
                <a:lnTo>
                  <a:pt x="432707" y="248187"/>
                </a:lnTo>
                <a:cubicBezTo>
                  <a:pt x="432707" y="250440"/>
                  <a:pt x="431956" y="252600"/>
                  <a:pt x="430453" y="254666"/>
                </a:cubicBezTo>
                <a:cubicBezTo>
                  <a:pt x="428951" y="256732"/>
                  <a:pt x="427072" y="257953"/>
                  <a:pt x="424819" y="258328"/>
                </a:cubicBezTo>
                <a:lnTo>
                  <a:pt x="372703" y="266216"/>
                </a:lnTo>
                <a:cubicBezTo>
                  <a:pt x="369134" y="276358"/>
                  <a:pt x="365472" y="284903"/>
                  <a:pt x="361716" y="291852"/>
                </a:cubicBezTo>
                <a:cubicBezTo>
                  <a:pt x="368289" y="301242"/>
                  <a:pt x="378337" y="314201"/>
                  <a:pt x="391859" y="330728"/>
                </a:cubicBezTo>
                <a:cubicBezTo>
                  <a:pt x="393737" y="332982"/>
                  <a:pt x="394676" y="335329"/>
                  <a:pt x="394676" y="337771"/>
                </a:cubicBezTo>
                <a:cubicBezTo>
                  <a:pt x="394676" y="340212"/>
                  <a:pt x="393832" y="342372"/>
                  <a:pt x="392140" y="344250"/>
                </a:cubicBezTo>
                <a:cubicBezTo>
                  <a:pt x="387070" y="351199"/>
                  <a:pt x="377773" y="361340"/>
                  <a:pt x="364251" y="374675"/>
                </a:cubicBezTo>
                <a:cubicBezTo>
                  <a:pt x="350729" y="388009"/>
                  <a:pt x="341903" y="394676"/>
                  <a:pt x="337771" y="394676"/>
                </a:cubicBezTo>
                <a:cubicBezTo>
                  <a:pt x="335517" y="394676"/>
                  <a:pt x="333075" y="393831"/>
                  <a:pt x="330446" y="392141"/>
                </a:cubicBezTo>
                <a:lnTo>
                  <a:pt x="291570" y="361716"/>
                </a:lnTo>
                <a:cubicBezTo>
                  <a:pt x="283306" y="366036"/>
                  <a:pt x="274762" y="369604"/>
                  <a:pt x="265934" y="372421"/>
                </a:cubicBezTo>
                <a:cubicBezTo>
                  <a:pt x="262929" y="397963"/>
                  <a:pt x="260206" y="415429"/>
                  <a:pt x="257765" y="424819"/>
                </a:cubicBezTo>
                <a:cubicBezTo>
                  <a:pt x="256450" y="430078"/>
                  <a:pt x="253070" y="432707"/>
                  <a:pt x="247624" y="432707"/>
                </a:cubicBezTo>
                <a:lnTo>
                  <a:pt x="185084" y="432707"/>
                </a:lnTo>
                <a:cubicBezTo>
                  <a:pt x="182454" y="432707"/>
                  <a:pt x="180153" y="431909"/>
                  <a:pt x="178182" y="430313"/>
                </a:cubicBezTo>
                <a:cubicBezTo>
                  <a:pt x="176210" y="428716"/>
                  <a:pt x="175130" y="426697"/>
                  <a:pt x="174942" y="424256"/>
                </a:cubicBezTo>
                <a:lnTo>
                  <a:pt x="167054" y="372421"/>
                </a:lnTo>
                <a:cubicBezTo>
                  <a:pt x="157852" y="369416"/>
                  <a:pt x="149401" y="365942"/>
                  <a:pt x="141700" y="361998"/>
                </a:cubicBezTo>
                <a:lnTo>
                  <a:pt x="101979" y="392141"/>
                </a:lnTo>
                <a:cubicBezTo>
                  <a:pt x="100101" y="393831"/>
                  <a:pt x="97753" y="394676"/>
                  <a:pt x="94936" y="394676"/>
                </a:cubicBezTo>
                <a:cubicBezTo>
                  <a:pt x="92307" y="394676"/>
                  <a:pt x="89959" y="393643"/>
                  <a:pt x="87893" y="391577"/>
                </a:cubicBezTo>
                <a:cubicBezTo>
                  <a:pt x="64230" y="370167"/>
                  <a:pt x="48735" y="354392"/>
                  <a:pt x="41411" y="344250"/>
                </a:cubicBezTo>
                <a:cubicBezTo>
                  <a:pt x="40097" y="342372"/>
                  <a:pt x="39439" y="340212"/>
                  <a:pt x="39439" y="337771"/>
                </a:cubicBezTo>
                <a:cubicBezTo>
                  <a:pt x="39439" y="335517"/>
                  <a:pt x="40191" y="333357"/>
                  <a:pt x="41694" y="331291"/>
                </a:cubicBezTo>
                <a:cubicBezTo>
                  <a:pt x="44510" y="327347"/>
                  <a:pt x="49299" y="321103"/>
                  <a:pt x="56060" y="312558"/>
                </a:cubicBezTo>
                <a:cubicBezTo>
                  <a:pt x="62821" y="304012"/>
                  <a:pt x="67892" y="297392"/>
                  <a:pt x="71273" y="292697"/>
                </a:cubicBezTo>
                <a:cubicBezTo>
                  <a:pt x="66202" y="283307"/>
                  <a:pt x="62352" y="274010"/>
                  <a:pt x="59723" y="264808"/>
                </a:cubicBezTo>
                <a:lnTo>
                  <a:pt x="8169" y="257202"/>
                </a:lnTo>
                <a:cubicBezTo>
                  <a:pt x="5728" y="256826"/>
                  <a:pt x="3756" y="255652"/>
                  <a:pt x="2254" y="253680"/>
                </a:cubicBezTo>
                <a:cubicBezTo>
                  <a:pt x="751" y="251708"/>
                  <a:pt x="0" y="249501"/>
                  <a:pt x="0" y="247060"/>
                </a:cubicBezTo>
                <a:lnTo>
                  <a:pt x="0" y="184520"/>
                </a:lnTo>
                <a:cubicBezTo>
                  <a:pt x="0" y="182267"/>
                  <a:pt x="751" y="180107"/>
                  <a:pt x="2254" y="178041"/>
                </a:cubicBezTo>
                <a:cubicBezTo>
                  <a:pt x="3756" y="175975"/>
                  <a:pt x="5540" y="174754"/>
                  <a:pt x="7606" y="174379"/>
                </a:cubicBezTo>
                <a:lnTo>
                  <a:pt x="60004" y="166491"/>
                </a:lnTo>
                <a:cubicBezTo>
                  <a:pt x="62633" y="157852"/>
                  <a:pt x="66295" y="149213"/>
                  <a:pt x="70991" y="140573"/>
                </a:cubicBezTo>
                <a:cubicBezTo>
                  <a:pt x="63478" y="129868"/>
                  <a:pt x="53431" y="116910"/>
                  <a:pt x="40848" y="101697"/>
                </a:cubicBezTo>
                <a:cubicBezTo>
                  <a:pt x="38970" y="99444"/>
                  <a:pt x="38030" y="97190"/>
                  <a:pt x="38030" y="94936"/>
                </a:cubicBezTo>
                <a:cubicBezTo>
                  <a:pt x="38030" y="93058"/>
                  <a:pt x="38876" y="90898"/>
                  <a:pt x="40567" y="88457"/>
                </a:cubicBezTo>
                <a:cubicBezTo>
                  <a:pt x="45449" y="81696"/>
                  <a:pt x="54699" y="71601"/>
                  <a:pt x="68314" y="58173"/>
                </a:cubicBezTo>
                <a:cubicBezTo>
                  <a:pt x="81931" y="44745"/>
                  <a:pt x="90805" y="38031"/>
                  <a:pt x="94936" y="38031"/>
                </a:cubicBezTo>
                <a:cubicBezTo>
                  <a:pt x="97377" y="38031"/>
                  <a:pt x="99819" y="38970"/>
                  <a:pt x="102260" y="40848"/>
                </a:cubicBezTo>
                <a:lnTo>
                  <a:pt x="141137" y="70991"/>
                </a:lnTo>
                <a:cubicBezTo>
                  <a:pt x="149401" y="66671"/>
                  <a:pt x="157945" y="63103"/>
                  <a:pt x="166773" y="60286"/>
                </a:cubicBezTo>
                <a:cubicBezTo>
                  <a:pt x="169777" y="34744"/>
                  <a:pt x="172501" y="17278"/>
                  <a:pt x="174942" y="7888"/>
                </a:cubicBezTo>
                <a:cubicBezTo>
                  <a:pt x="176257" y="2629"/>
                  <a:pt x="179637" y="0"/>
                  <a:pt x="185084" y="0"/>
                </a:cubicBezTo>
                <a:close/>
                <a:moveTo>
                  <a:pt x="216354" y="144236"/>
                </a:moveTo>
                <a:cubicBezTo>
                  <a:pt x="196446" y="144236"/>
                  <a:pt x="179449" y="151278"/>
                  <a:pt x="165364" y="165364"/>
                </a:cubicBezTo>
                <a:cubicBezTo>
                  <a:pt x="151278" y="179449"/>
                  <a:pt x="144235" y="196446"/>
                  <a:pt x="144235" y="216354"/>
                </a:cubicBezTo>
                <a:cubicBezTo>
                  <a:pt x="144235" y="236261"/>
                  <a:pt x="151278" y="253258"/>
                  <a:pt x="165364" y="267343"/>
                </a:cubicBezTo>
                <a:cubicBezTo>
                  <a:pt x="179449" y="281429"/>
                  <a:pt x="196446" y="288471"/>
                  <a:pt x="216354" y="288471"/>
                </a:cubicBezTo>
                <a:cubicBezTo>
                  <a:pt x="236261" y="288471"/>
                  <a:pt x="253258" y="281429"/>
                  <a:pt x="267343" y="267343"/>
                </a:cubicBezTo>
                <a:cubicBezTo>
                  <a:pt x="281429" y="253258"/>
                  <a:pt x="288471" y="236261"/>
                  <a:pt x="288471" y="216354"/>
                </a:cubicBezTo>
                <a:cubicBezTo>
                  <a:pt x="288471" y="196446"/>
                  <a:pt x="281429" y="179449"/>
                  <a:pt x="267343" y="165364"/>
                </a:cubicBezTo>
                <a:cubicBezTo>
                  <a:pt x="253258" y="151278"/>
                  <a:pt x="236261" y="144236"/>
                  <a:pt x="216354" y="144236"/>
                </a:cubicBezTo>
                <a:close/>
              </a:path>
            </a:pathLst>
          </a:cu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2" name="Freeform 322">
            <a:extLst>
              <a:ext uri="{FF2B5EF4-FFF2-40B4-BE49-F238E27FC236}">
                <a16:creationId xmlns:a16="http://schemas.microsoft.com/office/drawing/2014/main" id="{39E982D9-A15F-BEE2-20B5-8ADDD67FEB71}"/>
              </a:ext>
            </a:extLst>
          </p:cNvPr>
          <p:cNvSpPr/>
          <p:nvPr/>
        </p:nvSpPr>
        <p:spPr>
          <a:xfrm>
            <a:off x="3192461" y="4407705"/>
            <a:ext cx="588969" cy="504572"/>
          </a:xfrm>
          <a:custGeom>
            <a:avLst/>
            <a:gdLst>
              <a:gd name="connsiteX0" fmla="*/ 9015 w 504825"/>
              <a:gd name="connsiteY0" fmla="*/ 360589 h 432707"/>
              <a:gd name="connsiteX1" fmla="*/ 63103 w 504825"/>
              <a:gd name="connsiteY1" fmla="*/ 360589 h 432707"/>
              <a:gd name="connsiteX2" fmla="*/ 69583 w 504825"/>
              <a:gd name="connsiteY2" fmla="*/ 363125 h 432707"/>
              <a:gd name="connsiteX3" fmla="*/ 72118 w 504825"/>
              <a:gd name="connsiteY3" fmla="*/ 369604 h 432707"/>
              <a:gd name="connsiteX4" fmla="*/ 72118 w 504825"/>
              <a:gd name="connsiteY4" fmla="*/ 423692 h 432707"/>
              <a:gd name="connsiteX5" fmla="*/ 69583 w 504825"/>
              <a:gd name="connsiteY5" fmla="*/ 430172 h 432707"/>
              <a:gd name="connsiteX6" fmla="*/ 63103 w 504825"/>
              <a:gd name="connsiteY6" fmla="*/ 432707 h 432707"/>
              <a:gd name="connsiteX7" fmla="*/ 9015 w 504825"/>
              <a:gd name="connsiteY7" fmla="*/ 432707 h 432707"/>
              <a:gd name="connsiteX8" fmla="*/ 2535 w 504825"/>
              <a:gd name="connsiteY8" fmla="*/ 430172 h 432707"/>
              <a:gd name="connsiteX9" fmla="*/ 0 w 504825"/>
              <a:gd name="connsiteY9" fmla="*/ 423692 h 432707"/>
              <a:gd name="connsiteX10" fmla="*/ 0 w 504825"/>
              <a:gd name="connsiteY10" fmla="*/ 369604 h 432707"/>
              <a:gd name="connsiteX11" fmla="*/ 2535 w 504825"/>
              <a:gd name="connsiteY11" fmla="*/ 363125 h 432707"/>
              <a:gd name="connsiteX12" fmla="*/ 9015 w 504825"/>
              <a:gd name="connsiteY12" fmla="*/ 360589 h 432707"/>
              <a:gd name="connsiteX13" fmla="*/ 117192 w 504825"/>
              <a:gd name="connsiteY13" fmla="*/ 324530 h 432707"/>
              <a:gd name="connsiteX14" fmla="*/ 171280 w 504825"/>
              <a:gd name="connsiteY14" fmla="*/ 324530 h 432707"/>
              <a:gd name="connsiteX15" fmla="*/ 177759 w 504825"/>
              <a:gd name="connsiteY15" fmla="*/ 327066 h 432707"/>
              <a:gd name="connsiteX16" fmla="*/ 180295 w 504825"/>
              <a:gd name="connsiteY16" fmla="*/ 333545 h 432707"/>
              <a:gd name="connsiteX17" fmla="*/ 180295 w 504825"/>
              <a:gd name="connsiteY17" fmla="*/ 423692 h 432707"/>
              <a:gd name="connsiteX18" fmla="*/ 177759 w 504825"/>
              <a:gd name="connsiteY18" fmla="*/ 430172 h 432707"/>
              <a:gd name="connsiteX19" fmla="*/ 171280 w 504825"/>
              <a:gd name="connsiteY19" fmla="*/ 432707 h 432707"/>
              <a:gd name="connsiteX20" fmla="*/ 117192 w 504825"/>
              <a:gd name="connsiteY20" fmla="*/ 432707 h 432707"/>
              <a:gd name="connsiteX21" fmla="*/ 110712 w 504825"/>
              <a:gd name="connsiteY21" fmla="*/ 430172 h 432707"/>
              <a:gd name="connsiteX22" fmla="*/ 108177 w 504825"/>
              <a:gd name="connsiteY22" fmla="*/ 423692 h 432707"/>
              <a:gd name="connsiteX23" fmla="*/ 108177 w 504825"/>
              <a:gd name="connsiteY23" fmla="*/ 333545 h 432707"/>
              <a:gd name="connsiteX24" fmla="*/ 110712 w 504825"/>
              <a:gd name="connsiteY24" fmla="*/ 327066 h 432707"/>
              <a:gd name="connsiteX25" fmla="*/ 117192 w 504825"/>
              <a:gd name="connsiteY25" fmla="*/ 324530 h 432707"/>
              <a:gd name="connsiteX26" fmla="*/ 225368 w 504825"/>
              <a:gd name="connsiteY26" fmla="*/ 252412 h 432707"/>
              <a:gd name="connsiteX27" fmla="*/ 279457 w 504825"/>
              <a:gd name="connsiteY27" fmla="*/ 252412 h 432707"/>
              <a:gd name="connsiteX28" fmla="*/ 285936 w 504825"/>
              <a:gd name="connsiteY28" fmla="*/ 254948 h 432707"/>
              <a:gd name="connsiteX29" fmla="*/ 288472 w 504825"/>
              <a:gd name="connsiteY29" fmla="*/ 261427 h 432707"/>
              <a:gd name="connsiteX30" fmla="*/ 288472 w 504825"/>
              <a:gd name="connsiteY30" fmla="*/ 423692 h 432707"/>
              <a:gd name="connsiteX31" fmla="*/ 285936 w 504825"/>
              <a:gd name="connsiteY31" fmla="*/ 430172 h 432707"/>
              <a:gd name="connsiteX32" fmla="*/ 279457 w 504825"/>
              <a:gd name="connsiteY32" fmla="*/ 432707 h 432707"/>
              <a:gd name="connsiteX33" fmla="*/ 225368 w 504825"/>
              <a:gd name="connsiteY33" fmla="*/ 432707 h 432707"/>
              <a:gd name="connsiteX34" fmla="*/ 218889 w 504825"/>
              <a:gd name="connsiteY34" fmla="*/ 430172 h 432707"/>
              <a:gd name="connsiteX35" fmla="*/ 216354 w 504825"/>
              <a:gd name="connsiteY35" fmla="*/ 423692 h 432707"/>
              <a:gd name="connsiteX36" fmla="*/ 216354 w 504825"/>
              <a:gd name="connsiteY36" fmla="*/ 261427 h 432707"/>
              <a:gd name="connsiteX37" fmla="*/ 218889 w 504825"/>
              <a:gd name="connsiteY37" fmla="*/ 254948 h 432707"/>
              <a:gd name="connsiteX38" fmla="*/ 225368 w 504825"/>
              <a:gd name="connsiteY38" fmla="*/ 252412 h 432707"/>
              <a:gd name="connsiteX39" fmla="*/ 333545 w 504825"/>
              <a:gd name="connsiteY39" fmla="*/ 144236 h 432707"/>
              <a:gd name="connsiteX40" fmla="*/ 387633 w 504825"/>
              <a:gd name="connsiteY40" fmla="*/ 144236 h 432707"/>
              <a:gd name="connsiteX41" fmla="*/ 394113 w 504825"/>
              <a:gd name="connsiteY41" fmla="*/ 146771 h 432707"/>
              <a:gd name="connsiteX42" fmla="*/ 396648 w 504825"/>
              <a:gd name="connsiteY42" fmla="*/ 153250 h 432707"/>
              <a:gd name="connsiteX43" fmla="*/ 396648 w 504825"/>
              <a:gd name="connsiteY43" fmla="*/ 423692 h 432707"/>
              <a:gd name="connsiteX44" fmla="*/ 394113 w 504825"/>
              <a:gd name="connsiteY44" fmla="*/ 430172 h 432707"/>
              <a:gd name="connsiteX45" fmla="*/ 387633 w 504825"/>
              <a:gd name="connsiteY45" fmla="*/ 432707 h 432707"/>
              <a:gd name="connsiteX46" fmla="*/ 333545 w 504825"/>
              <a:gd name="connsiteY46" fmla="*/ 432707 h 432707"/>
              <a:gd name="connsiteX47" fmla="*/ 327066 w 504825"/>
              <a:gd name="connsiteY47" fmla="*/ 430172 h 432707"/>
              <a:gd name="connsiteX48" fmla="*/ 324530 w 504825"/>
              <a:gd name="connsiteY48" fmla="*/ 423692 h 432707"/>
              <a:gd name="connsiteX49" fmla="*/ 324530 w 504825"/>
              <a:gd name="connsiteY49" fmla="*/ 153250 h 432707"/>
              <a:gd name="connsiteX50" fmla="*/ 327066 w 504825"/>
              <a:gd name="connsiteY50" fmla="*/ 146771 h 432707"/>
              <a:gd name="connsiteX51" fmla="*/ 333545 w 504825"/>
              <a:gd name="connsiteY51" fmla="*/ 144236 h 432707"/>
              <a:gd name="connsiteX52" fmla="*/ 441722 w 504825"/>
              <a:gd name="connsiteY52" fmla="*/ 0 h 432707"/>
              <a:gd name="connsiteX53" fmla="*/ 495810 w 504825"/>
              <a:gd name="connsiteY53" fmla="*/ 0 h 432707"/>
              <a:gd name="connsiteX54" fmla="*/ 502290 w 504825"/>
              <a:gd name="connsiteY54" fmla="*/ 2535 h 432707"/>
              <a:gd name="connsiteX55" fmla="*/ 504825 w 504825"/>
              <a:gd name="connsiteY55" fmla="*/ 9015 h 432707"/>
              <a:gd name="connsiteX56" fmla="*/ 504825 w 504825"/>
              <a:gd name="connsiteY56" fmla="*/ 423692 h 432707"/>
              <a:gd name="connsiteX57" fmla="*/ 502290 w 504825"/>
              <a:gd name="connsiteY57" fmla="*/ 430172 h 432707"/>
              <a:gd name="connsiteX58" fmla="*/ 495810 w 504825"/>
              <a:gd name="connsiteY58" fmla="*/ 432707 h 432707"/>
              <a:gd name="connsiteX59" fmla="*/ 441722 w 504825"/>
              <a:gd name="connsiteY59" fmla="*/ 432707 h 432707"/>
              <a:gd name="connsiteX60" fmla="*/ 435243 w 504825"/>
              <a:gd name="connsiteY60" fmla="*/ 430172 h 432707"/>
              <a:gd name="connsiteX61" fmla="*/ 432707 w 504825"/>
              <a:gd name="connsiteY61" fmla="*/ 423692 h 432707"/>
              <a:gd name="connsiteX62" fmla="*/ 432707 w 504825"/>
              <a:gd name="connsiteY62" fmla="*/ 9015 h 432707"/>
              <a:gd name="connsiteX63" fmla="*/ 435243 w 504825"/>
              <a:gd name="connsiteY63" fmla="*/ 2535 h 432707"/>
              <a:gd name="connsiteX64" fmla="*/ 441722 w 504825"/>
              <a:gd name="connsiteY64" fmla="*/ 0 h 432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504825" h="432707">
                <a:moveTo>
                  <a:pt x="9015" y="360589"/>
                </a:moveTo>
                <a:lnTo>
                  <a:pt x="63103" y="360589"/>
                </a:lnTo>
                <a:cubicBezTo>
                  <a:pt x="65732" y="360589"/>
                  <a:pt x="67892" y="361434"/>
                  <a:pt x="69583" y="363125"/>
                </a:cubicBezTo>
                <a:cubicBezTo>
                  <a:pt x="71273" y="364815"/>
                  <a:pt x="72118" y="366975"/>
                  <a:pt x="72118" y="369604"/>
                </a:cubicBezTo>
                <a:lnTo>
                  <a:pt x="72118" y="423692"/>
                </a:lnTo>
                <a:cubicBezTo>
                  <a:pt x="72118" y="426322"/>
                  <a:pt x="71273" y="428481"/>
                  <a:pt x="69583" y="430172"/>
                </a:cubicBezTo>
                <a:cubicBezTo>
                  <a:pt x="67892" y="431862"/>
                  <a:pt x="65732" y="432707"/>
                  <a:pt x="63103" y="432707"/>
                </a:cubicBezTo>
                <a:lnTo>
                  <a:pt x="9015" y="432707"/>
                </a:lnTo>
                <a:cubicBezTo>
                  <a:pt x="6385" y="432707"/>
                  <a:pt x="4226" y="431862"/>
                  <a:pt x="2535" y="430172"/>
                </a:cubicBezTo>
                <a:cubicBezTo>
                  <a:pt x="845" y="428481"/>
                  <a:pt x="0" y="426322"/>
                  <a:pt x="0" y="423692"/>
                </a:cubicBezTo>
                <a:lnTo>
                  <a:pt x="0" y="369604"/>
                </a:lnTo>
                <a:cubicBezTo>
                  <a:pt x="0" y="366975"/>
                  <a:pt x="845" y="364815"/>
                  <a:pt x="2535" y="363125"/>
                </a:cubicBezTo>
                <a:cubicBezTo>
                  <a:pt x="4226" y="361434"/>
                  <a:pt x="6385" y="360589"/>
                  <a:pt x="9015" y="360589"/>
                </a:cubicBezTo>
                <a:close/>
                <a:moveTo>
                  <a:pt x="117192" y="324530"/>
                </a:moveTo>
                <a:lnTo>
                  <a:pt x="171280" y="324530"/>
                </a:lnTo>
                <a:cubicBezTo>
                  <a:pt x="173909" y="324530"/>
                  <a:pt x="176069" y="325375"/>
                  <a:pt x="177759" y="327066"/>
                </a:cubicBezTo>
                <a:cubicBezTo>
                  <a:pt x="179450" y="328756"/>
                  <a:pt x="180295" y="330916"/>
                  <a:pt x="180295" y="333545"/>
                </a:cubicBezTo>
                <a:lnTo>
                  <a:pt x="180295" y="423692"/>
                </a:lnTo>
                <a:cubicBezTo>
                  <a:pt x="180295" y="426322"/>
                  <a:pt x="179450" y="428481"/>
                  <a:pt x="177759" y="430172"/>
                </a:cubicBezTo>
                <a:cubicBezTo>
                  <a:pt x="176069" y="431862"/>
                  <a:pt x="173909" y="432707"/>
                  <a:pt x="171280" y="432707"/>
                </a:cubicBezTo>
                <a:lnTo>
                  <a:pt x="117192" y="432707"/>
                </a:lnTo>
                <a:cubicBezTo>
                  <a:pt x="114562" y="432707"/>
                  <a:pt x="112403" y="431862"/>
                  <a:pt x="110712" y="430172"/>
                </a:cubicBezTo>
                <a:cubicBezTo>
                  <a:pt x="109022" y="428481"/>
                  <a:pt x="108177" y="426322"/>
                  <a:pt x="108177" y="423692"/>
                </a:cubicBezTo>
                <a:lnTo>
                  <a:pt x="108177" y="333545"/>
                </a:lnTo>
                <a:cubicBezTo>
                  <a:pt x="108177" y="330916"/>
                  <a:pt x="109022" y="328756"/>
                  <a:pt x="110712" y="327066"/>
                </a:cubicBezTo>
                <a:cubicBezTo>
                  <a:pt x="112403" y="325375"/>
                  <a:pt x="114562" y="324530"/>
                  <a:pt x="117192" y="324530"/>
                </a:cubicBezTo>
                <a:close/>
                <a:moveTo>
                  <a:pt x="225368" y="252412"/>
                </a:moveTo>
                <a:lnTo>
                  <a:pt x="279457" y="252412"/>
                </a:lnTo>
                <a:cubicBezTo>
                  <a:pt x="282086" y="252412"/>
                  <a:pt x="284246" y="253258"/>
                  <a:pt x="285936" y="254948"/>
                </a:cubicBezTo>
                <a:cubicBezTo>
                  <a:pt x="287627" y="256638"/>
                  <a:pt x="288472" y="258798"/>
                  <a:pt x="288472" y="261427"/>
                </a:cubicBezTo>
                <a:lnTo>
                  <a:pt x="288472" y="423692"/>
                </a:lnTo>
                <a:cubicBezTo>
                  <a:pt x="288472" y="426322"/>
                  <a:pt x="287627" y="428481"/>
                  <a:pt x="285936" y="430172"/>
                </a:cubicBezTo>
                <a:cubicBezTo>
                  <a:pt x="284246" y="431862"/>
                  <a:pt x="282086" y="432707"/>
                  <a:pt x="279457" y="432707"/>
                </a:cubicBezTo>
                <a:lnTo>
                  <a:pt x="225368" y="432707"/>
                </a:lnTo>
                <a:cubicBezTo>
                  <a:pt x="222739" y="432707"/>
                  <a:pt x="220579" y="431862"/>
                  <a:pt x="218889" y="430172"/>
                </a:cubicBezTo>
                <a:cubicBezTo>
                  <a:pt x="217199" y="428481"/>
                  <a:pt x="216354" y="426322"/>
                  <a:pt x="216354" y="423692"/>
                </a:cubicBezTo>
                <a:lnTo>
                  <a:pt x="216354" y="261427"/>
                </a:lnTo>
                <a:cubicBezTo>
                  <a:pt x="216354" y="258798"/>
                  <a:pt x="217199" y="256638"/>
                  <a:pt x="218889" y="254948"/>
                </a:cubicBezTo>
                <a:cubicBezTo>
                  <a:pt x="220579" y="253258"/>
                  <a:pt x="222739" y="252412"/>
                  <a:pt x="225368" y="252412"/>
                </a:cubicBezTo>
                <a:close/>
                <a:moveTo>
                  <a:pt x="333545" y="144236"/>
                </a:moveTo>
                <a:lnTo>
                  <a:pt x="387633" y="144236"/>
                </a:lnTo>
                <a:cubicBezTo>
                  <a:pt x="390263" y="144236"/>
                  <a:pt x="392423" y="145081"/>
                  <a:pt x="394113" y="146771"/>
                </a:cubicBezTo>
                <a:cubicBezTo>
                  <a:pt x="395803" y="148461"/>
                  <a:pt x="396648" y="150621"/>
                  <a:pt x="396648" y="153250"/>
                </a:cubicBezTo>
                <a:lnTo>
                  <a:pt x="396648" y="423692"/>
                </a:lnTo>
                <a:cubicBezTo>
                  <a:pt x="396648" y="426322"/>
                  <a:pt x="395803" y="428481"/>
                  <a:pt x="394113" y="430172"/>
                </a:cubicBezTo>
                <a:cubicBezTo>
                  <a:pt x="392423" y="431862"/>
                  <a:pt x="390263" y="432707"/>
                  <a:pt x="387633" y="432707"/>
                </a:cubicBezTo>
                <a:lnTo>
                  <a:pt x="333545" y="432707"/>
                </a:lnTo>
                <a:cubicBezTo>
                  <a:pt x="330916" y="432707"/>
                  <a:pt x="328756" y="431862"/>
                  <a:pt x="327066" y="430172"/>
                </a:cubicBezTo>
                <a:cubicBezTo>
                  <a:pt x="325376" y="428481"/>
                  <a:pt x="324530" y="426322"/>
                  <a:pt x="324530" y="423692"/>
                </a:cubicBezTo>
                <a:lnTo>
                  <a:pt x="324530" y="153250"/>
                </a:lnTo>
                <a:cubicBezTo>
                  <a:pt x="324530" y="150621"/>
                  <a:pt x="325376" y="148461"/>
                  <a:pt x="327066" y="146771"/>
                </a:cubicBezTo>
                <a:cubicBezTo>
                  <a:pt x="328756" y="145081"/>
                  <a:pt x="330916" y="144236"/>
                  <a:pt x="333545" y="144236"/>
                </a:cubicBezTo>
                <a:close/>
                <a:moveTo>
                  <a:pt x="441722" y="0"/>
                </a:moveTo>
                <a:lnTo>
                  <a:pt x="495810" y="0"/>
                </a:lnTo>
                <a:cubicBezTo>
                  <a:pt x="498440" y="0"/>
                  <a:pt x="500600" y="845"/>
                  <a:pt x="502290" y="2535"/>
                </a:cubicBezTo>
                <a:cubicBezTo>
                  <a:pt x="503980" y="4226"/>
                  <a:pt x="504825" y="6385"/>
                  <a:pt x="504825" y="9015"/>
                </a:cubicBezTo>
                <a:lnTo>
                  <a:pt x="504825" y="423692"/>
                </a:lnTo>
                <a:cubicBezTo>
                  <a:pt x="504825" y="426322"/>
                  <a:pt x="503980" y="428481"/>
                  <a:pt x="502290" y="430172"/>
                </a:cubicBezTo>
                <a:cubicBezTo>
                  <a:pt x="500600" y="431862"/>
                  <a:pt x="498440" y="432707"/>
                  <a:pt x="495810" y="432707"/>
                </a:cubicBezTo>
                <a:lnTo>
                  <a:pt x="441722" y="432707"/>
                </a:lnTo>
                <a:cubicBezTo>
                  <a:pt x="439093" y="432707"/>
                  <a:pt x="436933" y="431862"/>
                  <a:pt x="435243" y="430172"/>
                </a:cubicBezTo>
                <a:cubicBezTo>
                  <a:pt x="433552" y="428481"/>
                  <a:pt x="432707" y="426322"/>
                  <a:pt x="432707" y="423692"/>
                </a:cubicBezTo>
                <a:lnTo>
                  <a:pt x="432707" y="9015"/>
                </a:lnTo>
                <a:cubicBezTo>
                  <a:pt x="432707" y="6385"/>
                  <a:pt x="433552" y="4226"/>
                  <a:pt x="435243" y="2535"/>
                </a:cubicBezTo>
                <a:cubicBezTo>
                  <a:pt x="436933" y="845"/>
                  <a:pt x="439093" y="0"/>
                  <a:pt x="441722" y="0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23" name="Freeform 456">
            <a:extLst>
              <a:ext uri="{FF2B5EF4-FFF2-40B4-BE49-F238E27FC236}">
                <a16:creationId xmlns:a16="http://schemas.microsoft.com/office/drawing/2014/main" id="{DBD1B097-EE89-2B7F-28C1-A5CD162F0589}"/>
              </a:ext>
            </a:extLst>
          </p:cNvPr>
          <p:cNvSpPr/>
          <p:nvPr/>
        </p:nvSpPr>
        <p:spPr>
          <a:xfrm>
            <a:off x="8516289" y="4544811"/>
            <a:ext cx="588969" cy="504673"/>
          </a:xfrm>
          <a:custGeom>
            <a:avLst/>
            <a:gdLst/>
            <a:ahLst/>
            <a:cxnLst/>
            <a:rect l="l" t="t" r="r" b="b"/>
            <a:pathLst>
              <a:path w="504825" h="432793">
                <a:moveTo>
                  <a:pt x="252413" y="0"/>
                </a:moveTo>
                <a:cubicBezTo>
                  <a:pt x="298237" y="0"/>
                  <a:pt x="340494" y="8029"/>
                  <a:pt x="379182" y="24086"/>
                </a:cubicBezTo>
                <a:cubicBezTo>
                  <a:pt x="417870" y="40143"/>
                  <a:pt x="448483" y="62023"/>
                  <a:pt x="471020" y="89725"/>
                </a:cubicBezTo>
                <a:cubicBezTo>
                  <a:pt x="493556" y="117426"/>
                  <a:pt x="504825" y="147616"/>
                  <a:pt x="504825" y="180294"/>
                </a:cubicBezTo>
                <a:cubicBezTo>
                  <a:pt x="504825" y="212973"/>
                  <a:pt x="493556" y="243163"/>
                  <a:pt x="471020" y="270864"/>
                </a:cubicBezTo>
                <a:cubicBezTo>
                  <a:pt x="448483" y="298566"/>
                  <a:pt x="417870" y="320446"/>
                  <a:pt x="379182" y="336503"/>
                </a:cubicBezTo>
                <a:cubicBezTo>
                  <a:pt x="340494" y="352561"/>
                  <a:pt x="298237" y="360589"/>
                  <a:pt x="252413" y="360589"/>
                </a:cubicBezTo>
                <a:cubicBezTo>
                  <a:pt x="239266" y="360589"/>
                  <a:pt x="225650" y="359838"/>
                  <a:pt x="211564" y="358335"/>
                </a:cubicBezTo>
                <a:cubicBezTo>
                  <a:pt x="174379" y="391202"/>
                  <a:pt x="131183" y="413926"/>
                  <a:pt x="81978" y="426510"/>
                </a:cubicBezTo>
                <a:cubicBezTo>
                  <a:pt x="72775" y="429139"/>
                  <a:pt x="62071" y="431205"/>
                  <a:pt x="49863" y="432707"/>
                </a:cubicBezTo>
                <a:cubicBezTo>
                  <a:pt x="46670" y="433083"/>
                  <a:pt x="43806" y="432238"/>
                  <a:pt x="41271" y="430172"/>
                </a:cubicBezTo>
                <a:cubicBezTo>
                  <a:pt x="38735" y="428106"/>
                  <a:pt x="37092" y="425383"/>
                  <a:pt x="36341" y="422002"/>
                </a:cubicBezTo>
                <a:lnTo>
                  <a:pt x="36341" y="421720"/>
                </a:lnTo>
                <a:cubicBezTo>
                  <a:pt x="35777" y="420969"/>
                  <a:pt x="35730" y="419842"/>
                  <a:pt x="36200" y="418340"/>
                </a:cubicBezTo>
                <a:cubicBezTo>
                  <a:pt x="36669" y="416837"/>
                  <a:pt x="36857" y="415898"/>
                  <a:pt x="36763" y="415523"/>
                </a:cubicBezTo>
                <a:cubicBezTo>
                  <a:pt x="36669" y="415147"/>
                  <a:pt x="37092" y="414255"/>
                  <a:pt x="38031" y="412846"/>
                </a:cubicBezTo>
                <a:cubicBezTo>
                  <a:pt x="38970" y="411438"/>
                  <a:pt x="39534" y="410593"/>
                  <a:pt x="39721" y="410311"/>
                </a:cubicBezTo>
                <a:cubicBezTo>
                  <a:pt x="39909" y="410029"/>
                  <a:pt x="40566" y="409231"/>
                  <a:pt x="41693" y="407916"/>
                </a:cubicBezTo>
                <a:cubicBezTo>
                  <a:pt x="42820" y="406602"/>
                  <a:pt x="43571" y="405757"/>
                  <a:pt x="43947" y="405381"/>
                </a:cubicBezTo>
                <a:cubicBezTo>
                  <a:pt x="45261" y="403879"/>
                  <a:pt x="48173" y="400639"/>
                  <a:pt x="52680" y="395662"/>
                </a:cubicBezTo>
                <a:cubicBezTo>
                  <a:pt x="57187" y="390685"/>
                  <a:pt x="60427" y="387117"/>
                  <a:pt x="62399" y="384957"/>
                </a:cubicBezTo>
                <a:cubicBezTo>
                  <a:pt x="64371" y="382797"/>
                  <a:pt x="67282" y="379088"/>
                  <a:pt x="71132" y="373830"/>
                </a:cubicBezTo>
                <a:cubicBezTo>
                  <a:pt x="74981" y="368571"/>
                  <a:pt x="78034" y="363782"/>
                  <a:pt x="80288" y="359462"/>
                </a:cubicBezTo>
                <a:cubicBezTo>
                  <a:pt x="82541" y="355143"/>
                  <a:pt x="85077" y="349603"/>
                  <a:pt x="87893" y="342841"/>
                </a:cubicBezTo>
                <a:cubicBezTo>
                  <a:pt x="90711" y="336080"/>
                  <a:pt x="93152" y="328944"/>
                  <a:pt x="95218" y="321432"/>
                </a:cubicBezTo>
                <a:cubicBezTo>
                  <a:pt x="65733" y="304717"/>
                  <a:pt x="42492" y="284058"/>
                  <a:pt x="25495" y="259455"/>
                </a:cubicBezTo>
                <a:cubicBezTo>
                  <a:pt x="8498" y="234852"/>
                  <a:pt x="0" y="208465"/>
                  <a:pt x="0" y="180294"/>
                </a:cubicBezTo>
                <a:cubicBezTo>
                  <a:pt x="0" y="155880"/>
                  <a:pt x="6667" y="132544"/>
                  <a:pt x="20002" y="110289"/>
                </a:cubicBezTo>
                <a:cubicBezTo>
                  <a:pt x="33336" y="88034"/>
                  <a:pt x="51271" y="68831"/>
                  <a:pt x="73808" y="52680"/>
                </a:cubicBezTo>
                <a:cubicBezTo>
                  <a:pt x="96345" y="36528"/>
                  <a:pt x="123202" y="23710"/>
                  <a:pt x="154377" y="14226"/>
                </a:cubicBezTo>
                <a:cubicBezTo>
                  <a:pt x="185553" y="4742"/>
                  <a:pt x="218231" y="0"/>
                  <a:pt x="252413" y="0"/>
                </a:cubicBezTo>
                <a:close/>
              </a:path>
            </a:pathLst>
          </a:cu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23973870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75</TotalTime>
  <Words>63</Words>
  <Application>Microsoft Office PowerPoint</Application>
  <PresentationFormat>Widescreen</PresentationFormat>
  <Paragraphs>1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4 Layer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659</cp:revision>
  <dcterms:created xsi:type="dcterms:W3CDTF">2021-03-31T02:49:57Z</dcterms:created>
  <dcterms:modified xsi:type="dcterms:W3CDTF">2025-10-16T11:40:17Z</dcterms:modified>
  <cp:category/>
</cp:coreProperties>
</file>